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5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140" autoAdjust="0"/>
    <p:restoredTop sz="94660"/>
  </p:normalViewPr>
  <p:slideViewPr>
    <p:cSldViewPr snapToGrid="0">
      <p:cViewPr varScale="1">
        <p:scale>
          <a:sx n="55" d="100"/>
          <a:sy n="55" d="100"/>
        </p:scale>
        <p:origin x="25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CFC756-44B0-4A27-9D55-E6A5CA7B24AB}" type="datetimeFigureOut">
              <a:rPr lang="en-US" smtClean="0"/>
              <a:t>6/1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9040B3-FC9D-4ACB-9DFB-32A7545241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986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0/4,8/19,05"/>
  <p:tag name="LOCK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/0,6/25,39/3,8"/>
  <p:tag name="LOCK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0,99/0,6/3,8/3,79"/>
  <p:tag name="LOCK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,78/19,8/2,37"/>
  <p:tag name="LOCKED" val="1"/>
  <p:tag name="WIZSHAPE" val="WizShape"/>
  <p:tag name="VISIBLE" val="System.Xml.XmlAttribu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5,2/24,2/12,8"/>
  <p:tag name="LOCKED" val="1"/>
  <p:tag name="WIZSHAPE" val="WizShape"/>
  <p:tag name="VISIBLE" val="System.Xml.XmlAttribu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3,64/4,8/4,79"/>
  <p:tag name="LOCKED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8,66/20,2/0,27"/>
  <p:tag name="LOCKED" val="1"/>
  <p:tag name="WIZSHAPE" val="WizShape"/>
  <p:tag name="VISIBLE" val="System.Xml.XmlAttribu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0,6/18,46/2/0,42"/>
  <p:tag name="LOCKED" val="1"/>
  <p:tag name="WIZSHAPE" val="WizShape"/>
  <p:tag name="VISIBLE" val="System.Xml.XmlAttribu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,6/18,79/20,2/0,27"/>
  <p:tag name="LOCKED" val="1"/>
  <p:tag name="WIZSHAPE" val="WizShape"/>
  <p:tag name="VISIBLE" val="System.Xml.XmlAttribu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22,8/18,46/2/0,42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66/15/0,27"/>
  <p:tag name="LOCKED" val="1"/>
  <p:tag name="WIZSHAPE" val="WizShape"/>
  <p:tag name="VISIBLE" val="System.Xml.XmlAttribu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6/18,46/2/0,42"/>
  <p:tag name="LOCKED" val="1"/>
  <p:tag name="WIZSHAPE" val="WizShape"/>
  <p:tag name="VISIBLE" val="System.Xml.XmlAttribu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8/18,79/15/0,27"/>
  <p:tag name="LOCKED" val="1"/>
  <p:tag name="WIZSHAPE" val="WizShape"/>
  <p:tag name="VISIBLE" val="System.Xml.XmlAttribu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heme/theme1.xml><?xml version="1.0" encoding="utf-8"?>
<a:theme xmlns:a="http://schemas.openxmlformats.org/drawingml/2006/main" name="BASF_Titel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ASF_Titel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ASF_FolienDesign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4</Words>
  <Application>Microsoft Office PowerPoint</Application>
  <PresentationFormat>Widescreen</PresentationFormat>
  <Paragraphs>130</Paragraphs>
  <Slides>2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Wingdings</vt:lpstr>
      <vt:lpstr>Wingdings 3</vt:lpstr>
      <vt:lpstr>BASF_TitelDesign</vt:lpstr>
      <vt:lpstr>1_BASF_TitelDesign</vt:lpstr>
      <vt:lpstr>BASF_FolienDesign</vt:lpstr>
      <vt:lpstr>think-cell Folie</vt:lpstr>
      <vt:lpstr>An R based webapplication for qPCR data analysis </vt:lpstr>
      <vt:lpstr>Inleiding</vt:lpstr>
      <vt:lpstr>Departement: Molecular Analysis &amp; Technology</vt:lpstr>
      <vt:lpstr>Departement: Molecular Analysis &amp; Technology</vt:lpstr>
      <vt:lpstr>T-DNA zygositeit gebaseerd op  Copy Number (CN) en Mendeliaanse overerving</vt:lpstr>
      <vt:lpstr>R script 1: Zygosity </vt:lpstr>
      <vt:lpstr>Demo web applicatie “Zygosity”</vt:lpstr>
      <vt:lpstr>R- script 1: Zygosisty </vt:lpstr>
      <vt:lpstr>R- script 2 : Expressie analyse</vt:lpstr>
      <vt:lpstr>Korte samenvatting</vt:lpstr>
      <vt:lpstr>Dankwoo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inde dem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Els</dc:creator>
  <cp:lastModifiedBy>Els Goeleven</cp:lastModifiedBy>
  <cp:revision>84</cp:revision>
  <dcterms:created xsi:type="dcterms:W3CDTF">2016-06-17T20:40:24Z</dcterms:created>
  <dcterms:modified xsi:type="dcterms:W3CDTF">2016-06-19T13:10:00Z</dcterms:modified>
</cp:coreProperties>
</file>